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145708552" r:id="rId2"/>
    <p:sldId id="2145708553" r:id="rId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AE125E-4BEF-B8E4-CB97-DF165967A5C6}" name="Nicolas RISS" initials="NR" userId="S::nicolas.riss@esante.gouv.fr::ad025531-0717-42a2-8be6-fd21accafa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59"/>
    <p:restoredTop sz="94767"/>
  </p:normalViewPr>
  <p:slideViewPr>
    <p:cSldViewPr snapToGrid="0">
      <p:cViewPr varScale="1">
        <p:scale>
          <a:sx n="128" d="100"/>
          <a:sy n="128" d="100"/>
        </p:scale>
        <p:origin x="592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837BF-BC66-5242-A4C0-DD83D59D57D3}" type="datetimeFigureOut">
              <a:rPr lang="fr-FR" smtClean="0"/>
              <a:t>18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5BCB2-3998-EE4A-9EA3-D893682FDD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189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433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822E4-5C83-40E2-902D-71DD6057D973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mpagne &amp; Limousine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mpagne &amp; Limousine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8668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2925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45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42FCC0B-ED92-42D7-8A66-BF2DFC78E49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°›</a:t>
            </a:fld>
            <a:r>
              <a:rPr lang="fr-FR" sz="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Titre du document / 00 mois AAAA / versio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6B67394-3F03-0B41-9F23-F1019F8790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956" y="519322"/>
            <a:ext cx="2641495" cy="793382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89992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90513" y="1204913"/>
            <a:ext cx="11468100" cy="4822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88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2_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6096000" y="1275008"/>
            <a:ext cx="0" cy="515155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000" y="36000"/>
            <a:ext cx="10386026" cy="61771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fr-FR" sz="2400" b="1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284073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 defTabSz="8953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10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6222644" y="1275008"/>
            <a:ext cx="5685284" cy="5151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latin typeface="+mn-lt"/>
              </a:defRPr>
            </a:lvl1pPr>
            <a:lvl2pPr marL="7223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1600">
                <a:latin typeface="+mn-lt"/>
              </a:defRPr>
            </a:lvl2pPr>
            <a:lvl3pPr marL="1077913" indent="-35560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1400">
                <a:solidFill>
                  <a:srgbClr val="575756"/>
                </a:solidFill>
                <a:latin typeface="+mn-lt"/>
              </a:defRPr>
            </a:lvl3pPr>
            <a:lvl4pPr marL="1438275" indent="-363538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1200">
                <a:solidFill>
                  <a:srgbClr val="70706F"/>
                </a:solidFill>
                <a:latin typeface="+mn-lt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3"/>
            <a:endParaRPr lang="fr-FR"/>
          </a:p>
        </p:txBody>
      </p:sp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11428987" y="6301654"/>
            <a:ext cx="763013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fr-FR" sz="1200" b="1">
                <a:solidFill>
                  <a:prstClr val="white"/>
                </a:solidFill>
                <a:latin typeface="+mn-lt"/>
              </a:rPr>
              <a:t>// </a:t>
            </a:r>
            <a:fld id="{B841E88C-A190-482F-9C3B-7B4EF20D1BF2}" type="slidenum">
              <a:rPr lang="fr-FR" sz="1200" b="1" smtClean="0">
                <a:solidFill>
                  <a:prstClr val="white"/>
                </a:solidFill>
                <a:latin typeface="+mn-lt"/>
              </a:rPr>
              <a:pPr algn="r">
                <a:defRPr/>
              </a:pPr>
              <a:t>‹N°›</a:t>
            </a:fld>
            <a:endParaRPr lang="fr-FR" sz="1200" b="1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835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32279960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621600" y="1414800"/>
            <a:ext cx="10948800" cy="4536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3733"/>
            </a:lvl1pPr>
            <a:lvl2pPr marL="719982" marR="0" indent="-431989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 3" panose="05040102010807070707" pitchFamily="18" charset="2"/>
              <a:buChar char=""/>
              <a:tabLst/>
              <a:defRPr sz="2667" baseline="0">
                <a:solidFill>
                  <a:schemeClr val="accent1"/>
                </a:solidFill>
              </a:defRPr>
            </a:lvl2pPr>
            <a:lvl3pPr marL="1199970" marR="0" indent="-38399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00000"/>
              <a:buFont typeface="Webdings" panose="05030102010509060703" pitchFamily="18" charset="2"/>
              <a:buChar char=""/>
              <a:tabLst/>
              <a:defRPr sz="2133">
                <a:solidFill>
                  <a:srgbClr val="575757"/>
                </a:solidFill>
              </a:defRPr>
            </a:lvl3pPr>
            <a:lvl4pPr marL="1679958" marR="0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ct val="13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4pPr>
            <a:lvl5pPr marL="2159946" marR="0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ct val="110000"/>
              <a:buFont typeface="Arial" panose="020B0604020202020204" pitchFamily="34" charset="0"/>
              <a:buChar char="•"/>
              <a:tabLst/>
              <a:defRPr sz="1867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Premier niveau</a:t>
            </a:r>
          </a:p>
          <a:p>
            <a:pPr lvl="2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4"/>
            <a:r>
              <a:rPr lang="fr-FR"/>
              <a:t>Quatr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sz="1200" i="1">
                <a:latin typeface="Arial"/>
                <a:ea typeface="+mn-ea"/>
              </a:rPr>
              <a:t>| Presentation_ASIP_Sante</a:t>
            </a:r>
          </a:p>
        </p:txBody>
      </p:sp>
    </p:spTree>
    <p:extLst>
      <p:ext uri="{BB962C8B-B14F-4D97-AF65-F5344CB8AC3E}">
        <p14:creationId xmlns:p14="http://schemas.microsoft.com/office/powerpoint/2010/main" val="10925059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</p:spTree>
    <p:extLst>
      <p:ext uri="{BB962C8B-B14F-4D97-AF65-F5344CB8AC3E}">
        <p14:creationId xmlns:p14="http://schemas.microsoft.com/office/powerpoint/2010/main" val="323811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7680">
          <p15:clr>
            <a:srgbClr val="FBAE40"/>
          </p15:clr>
        </p15:guide>
        <p15:guide id="3" pos="3137">
          <p15:clr>
            <a:srgbClr val="FBAE40"/>
          </p15:clr>
        </p15:guide>
        <p15:guide id="4" orient="horz" pos="225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 dirty="0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 dirty="0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44521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2116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5300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5689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302254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060580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8170900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8" name="ZoneTexte 7"/>
          <p:cNvSpPr txBox="1"/>
          <p:nvPr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 dirty="0" err="1">
                <a:solidFill>
                  <a:srgbClr val="575757"/>
                </a:solidFill>
              </a:rPr>
              <a:t>esante.gouv.fr</a:t>
            </a:r>
            <a:endParaRPr lang="fr-FR" sz="2667" b="1" dirty="0">
              <a:solidFill>
                <a:srgbClr val="575757"/>
              </a:solidFill>
            </a:endParaRPr>
          </a:p>
          <a:p>
            <a:pPr algn="l"/>
            <a:r>
              <a:rPr lang="fr-FR" sz="2000" dirty="0">
                <a:solidFill>
                  <a:srgbClr val="575757"/>
                </a:solidFill>
              </a:rPr>
              <a:t>Le portail</a:t>
            </a:r>
            <a:r>
              <a:rPr lang="fr-FR" sz="2000" baseline="0" dirty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dirty="0">
              <a:solidFill>
                <a:srgbClr val="575757"/>
              </a:solidFill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ZoneTexte 13"/>
          <p:cNvSpPr txBox="1"/>
          <p:nvPr userDrawn="1"/>
        </p:nvSpPr>
        <p:spPr>
          <a:xfrm>
            <a:off x="6424115" y="1682636"/>
            <a:ext cx="4320480" cy="3372488"/>
          </a:xfrm>
          <a:prstGeom prst="rect">
            <a:avLst/>
          </a:prstGeom>
          <a:noFill/>
        </p:spPr>
        <p:txBody>
          <a:bodyPr wrap="square" lIns="96000" tIns="144000" rIns="96000" bIns="144000" rtlCol="0" anchor="t" anchorCtr="0">
            <a:normAutofit/>
          </a:bodyPr>
          <a:lstStyle/>
          <a:p>
            <a:pPr algn="l"/>
            <a:r>
              <a:rPr lang="fr-FR" sz="2667" b="1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2000">
                <a:solidFill>
                  <a:srgbClr val="575757"/>
                </a:solidFill>
              </a:rPr>
              <a:t>Le portail</a:t>
            </a:r>
            <a:r>
              <a:rPr lang="fr-FR" sz="2000" baseline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2000" err="1">
              <a:solidFill>
                <a:srgbClr val="575757"/>
              </a:solidFill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214" y="3757011"/>
            <a:ext cx="562781" cy="56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04" y="4362411"/>
            <a:ext cx="336000" cy="3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63" y="3821943"/>
            <a:ext cx="3502028" cy="960107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302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9ABF20-8A56-44CA-A120-28070AEC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0229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9ABF20-8A56-44CA-A120-28070AEC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 dirty="0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54" y="116632"/>
            <a:ext cx="715733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0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2133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2">
            <a:extLst>
              <a:ext uri="{FF2B5EF4-FFF2-40B4-BE49-F238E27FC236}">
                <a16:creationId xmlns:a16="http://schemas.microsoft.com/office/drawing/2014/main" id="{E11B5717-BFF4-F816-ECE8-4B2DD3613939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1"/>
            </p:custDataLst>
          </p:nvPr>
        </p:nvSpPr>
        <p:spPr>
          <a:xfrm>
            <a:off x="11808883" y="6467794"/>
            <a:ext cx="383117" cy="365125"/>
          </a:xfrm>
          <a:noFill/>
        </p:spPr>
        <p:txBody>
          <a:bodyPr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cycle de vie</a:t>
            </a:r>
          </a:p>
        </p:txBody>
      </p:sp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F8252962-E928-15A6-3B08-CEF2BC98B8F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808883" y="6458334"/>
            <a:ext cx="383117" cy="36512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ctr" defTabSz="914400" rtl="0" eaLnBrk="1" latinLnBrk="0" hangingPunct="1">
              <a:defRPr lang="fr-FR" sz="1067" i="1" kern="120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1067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067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44444" y="2200015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Rédaction de la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703542" y="1656059"/>
            <a:ext cx="1033806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196446" y="2419760"/>
            <a:ext cx="1197203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3431357" y="2215940"/>
            <a:ext cx="1952002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Premi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3"/>
            <a:endCxn id="21" idx="1"/>
          </p:cNvCxnSpPr>
          <p:nvPr/>
        </p:nvCxnSpPr>
        <p:spPr>
          <a:xfrm flipV="1">
            <a:off x="5383359" y="2434190"/>
            <a:ext cx="1100400" cy="149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6483759" y="2214445"/>
            <a:ext cx="1337035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6096000" y="1683230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7820794" y="2434190"/>
            <a:ext cx="110040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8921194" y="2214445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4) Modification puis concerta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3034211" y="1683230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872BCC74-95A7-12AE-8B4A-53C2B8CAA10B}"/>
              </a:ext>
            </a:extLst>
          </p:cNvPr>
          <p:cNvCxnSpPr>
            <a:cxnSpLocks/>
            <a:stCxn id="44" idx="2"/>
            <a:endCxn id="62" idx="0"/>
          </p:cNvCxnSpPr>
          <p:nvPr/>
        </p:nvCxnSpPr>
        <p:spPr>
          <a:xfrm>
            <a:off x="9797963" y="2653935"/>
            <a:ext cx="851453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ZoneTexte 60">
            <a:extLst>
              <a:ext uri="{FF2B5EF4-FFF2-40B4-BE49-F238E27FC236}">
                <a16:creationId xmlns:a16="http://schemas.microsoft.com/office/drawing/2014/main" id="{38CFC1C0-36FE-7212-037F-EEC21FBEFDAA}"/>
              </a:ext>
            </a:extLst>
          </p:cNvPr>
          <p:cNvSpPr txBox="1"/>
          <p:nvPr/>
        </p:nvSpPr>
        <p:spPr>
          <a:xfrm>
            <a:off x="7333611" y="4104149"/>
            <a:ext cx="1353416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9611755" y="3238445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ur implémentation</a:t>
            </a:r>
          </a:p>
        </p:txBody>
      </p:sp>
      <p:cxnSp>
        <p:nvCxnSpPr>
          <p:cNvPr id="67" name="Connecteur droit avec flèche 66">
            <a:extLst>
              <a:ext uri="{FF2B5EF4-FFF2-40B4-BE49-F238E27FC236}">
                <a16:creationId xmlns:a16="http://schemas.microsoft.com/office/drawing/2014/main" id="{EC11CA6D-91AA-0F79-A7EF-9BF5004BCB57}"/>
              </a:ext>
            </a:extLst>
          </p:cNvPr>
          <p:cNvCxnSpPr>
            <a:cxnSpLocks/>
            <a:stCxn id="44" idx="2"/>
            <a:endCxn id="71" idx="0"/>
          </p:cNvCxnSpPr>
          <p:nvPr/>
        </p:nvCxnSpPr>
        <p:spPr>
          <a:xfrm flipH="1">
            <a:off x="8558026" y="2653935"/>
            <a:ext cx="1239937" cy="58451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7706573" y="3238445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</a:t>
            </a: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l-text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ZoneTexte 83">
            <a:extLst>
              <a:ext uri="{FF2B5EF4-FFF2-40B4-BE49-F238E27FC236}">
                <a16:creationId xmlns:a16="http://schemas.microsoft.com/office/drawing/2014/main" id="{4E94234C-39E5-1021-3E72-03C0ECAD746A}"/>
              </a:ext>
            </a:extLst>
          </p:cNvPr>
          <p:cNvSpPr txBox="1"/>
          <p:nvPr/>
        </p:nvSpPr>
        <p:spPr>
          <a:xfrm>
            <a:off x="8687027" y="1674248"/>
            <a:ext cx="2170038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2B2AC73-BC05-616C-E92C-DDE7448F08D3}"/>
              </a:ext>
            </a:extLst>
          </p:cNvPr>
          <p:cNvSpPr txBox="1"/>
          <p:nvPr/>
        </p:nvSpPr>
        <p:spPr>
          <a:xfrm>
            <a:off x="1402211" y="4371090"/>
            <a:ext cx="2834524" cy="1222585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À tous moments, une spécification peut passer en déprécié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le peut ensuite être retirée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6A0CECE-2DF5-19CC-7E51-4C2E97728F12}"/>
              </a:ext>
            </a:extLst>
          </p:cNvPr>
          <p:cNvSpPr txBox="1"/>
          <p:nvPr/>
        </p:nvSpPr>
        <p:spPr>
          <a:xfrm>
            <a:off x="66727" y="4977655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drawal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r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5E52579-8A99-536F-BB81-A18E275DDF4C}"/>
              </a:ext>
            </a:extLst>
          </p:cNvPr>
          <p:cNvSpPr txBox="1"/>
          <p:nvPr/>
        </p:nvSpPr>
        <p:spPr>
          <a:xfrm>
            <a:off x="66727" y="4371090"/>
            <a:ext cx="1340569" cy="57544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recated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éprécié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212650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D2FE1E0-273D-A36B-AAF8-EF1D328E99EB}"/>
              </a:ext>
            </a:extLst>
          </p:cNvPr>
          <p:cNvSpPr txBox="1"/>
          <p:nvPr/>
        </p:nvSpPr>
        <p:spPr>
          <a:xfrm>
            <a:off x="10311562" y="4408266"/>
            <a:ext cx="1631879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8EC57455-E07F-4BF8-21F2-0331BBADB84C}"/>
              </a:ext>
            </a:extLst>
          </p:cNvPr>
          <p:cNvSpPr txBox="1"/>
          <p:nvPr/>
        </p:nvSpPr>
        <p:spPr>
          <a:xfrm>
            <a:off x="8558025" y="4383368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Modification puis concertation</a:t>
            </a:r>
          </a:p>
        </p:txBody>
      </p:sp>
    </p:spTree>
    <p:extLst>
      <p:ext uri="{BB962C8B-B14F-4D97-AF65-F5344CB8AC3E}">
        <p14:creationId xmlns:p14="http://schemas.microsoft.com/office/powerpoint/2010/main" val="8167935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8D1F3224-DF56-408B-817A-8E2E82488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chéma du cycle de vie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8FC7D193-3079-D397-21E5-BCC36FFDBCE5}"/>
              </a:ext>
            </a:extLst>
          </p:cNvPr>
          <p:cNvSpPr txBox="1"/>
          <p:nvPr/>
        </p:nvSpPr>
        <p:spPr>
          <a:xfrm>
            <a:off x="9457151" y="8693063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E79448-2EB7-609C-0DFD-C8BE9B62A54D}"/>
              </a:ext>
            </a:extLst>
          </p:cNvPr>
          <p:cNvSpPr txBox="1"/>
          <p:nvPr/>
        </p:nvSpPr>
        <p:spPr>
          <a:xfrm>
            <a:off x="2337527" y="1363318"/>
            <a:ext cx="1952001" cy="697623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) Initialisation de la spécification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95D00AE-F27A-CFCD-3162-87FB7FB6B955}"/>
              </a:ext>
            </a:extLst>
          </p:cNvPr>
          <p:cNvSpPr txBox="1"/>
          <p:nvPr/>
        </p:nvSpPr>
        <p:spPr>
          <a:xfrm>
            <a:off x="512951" y="1421701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5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 </a:t>
            </a:r>
            <a:r>
              <a:rPr kumimoji="0" lang="en-AU" sz="10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i-build)</a:t>
            </a: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B327245-50FB-B4BC-5FB8-B425B62293C1}"/>
              </a:ext>
            </a:extLst>
          </p:cNvPr>
          <p:cNvCxnSpPr>
            <a:cxnSpLocks/>
            <a:stCxn id="5" idx="2"/>
            <a:endCxn id="17" idx="0"/>
          </p:cNvCxnSpPr>
          <p:nvPr/>
        </p:nvCxnSpPr>
        <p:spPr>
          <a:xfrm>
            <a:off x="3313528" y="2060941"/>
            <a:ext cx="0" cy="43950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B921B43B-815F-CBB6-2F74-B4F661CDEFF4}"/>
              </a:ext>
            </a:extLst>
          </p:cNvPr>
          <p:cNvSpPr txBox="1"/>
          <p:nvPr/>
        </p:nvSpPr>
        <p:spPr>
          <a:xfrm>
            <a:off x="2337528" y="2500443"/>
            <a:ext cx="1952000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) 1ère concertation (3 mois)</a:t>
            </a:r>
          </a:p>
        </p:txBody>
      </p: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81325A97-D1D8-5FF9-9CAB-68583E019542}"/>
              </a:ext>
            </a:extLst>
          </p:cNvPr>
          <p:cNvCxnSpPr>
            <a:cxnSpLocks/>
            <a:stCxn id="17" idx="2"/>
            <a:endCxn id="21" idx="0"/>
          </p:cNvCxnSpPr>
          <p:nvPr/>
        </p:nvCxnSpPr>
        <p:spPr>
          <a:xfrm>
            <a:off x="3313528" y="2939933"/>
            <a:ext cx="1" cy="80472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>
            <a:extLst>
              <a:ext uri="{FF2B5EF4-FFF2-40B4-BE49-F238E27FC236}">
                <a16:creationId xmlns:a16="http://schemas.microsoft.com/office/drawing/2014/main" id="{B1E71931-4127-B0FD-36B3-465D1A7FC170}"/>
              </a:ext>
            </a:extLst>
          </p:cNvPr>
          <p:cNvSpPr txBox="1"/>
          <p:nvPr/>
        </p:nvSpPr>
        <p:spPr>
          <a:xfrm>
            <a:off x="2337528" y="3744660"/>
            <a:ext cx="1952001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) 1</a:t>
            </a:r>
            <a:r>
              <a:rPr kumimoji="0" lang="fr-FR" sz="12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re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ublication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E94B04-2322-5F85-E553-1404745D89E7}"/>
              </a:ext>
            </a:extLst>
          </p:cNvPr>
          <p:cNvSpPr txBox="1"/>
          <p:nvPr/>
        </p:nvSpPr>
        <p:spPr>
          <a:xfrm>
            <a:off x="512952" y="3533540"/>
            <a:ext cx="1461741" cy="58451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500" dirty="0">
                <a:solidFill>
                  <a:prstClr val="black"/>
                </a:solidFill>
                <a:latin typeface="Arial"/>
              </a:rPr>
              <a:t>trial</a:t>
            </a: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implementation</a:t>
            </a:r>
          </a:p>
        </p:txBody>
      </p: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A1F3AF0B-4E1A-BFD5-42C0-A2A152A70A17}"/>
              </a:ext>
            </a:extLst>
          </p:cNvPr>
          <p:cNvCxnSpPr>
            <a:cxnSpLocks/>
            <a:stCxn id="21" idx="3"/>
            <a:endCxn id="44" idx="1"/>
          </p:cNvCxnSpPr>
          <p:nvPr/>
        </p:nvCxnSpPr>
        <p:spPr>
          <a:xfrm>
            <a:off x="4289529" y="3964405"/>
            <a:ext cx="824066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oneTexte 43">
            <a:extLst>
              <a:ext uri="{FF2B5EF4-FFF2-40B4-BE49-F238E27FC236}">
                <a16:creationId xmlns:a16="http://schemas.microsoft.com/office/drawing/2014/main" id="{3D3459F8-CFD3-15C5-F416-BC684B0EAB88}"/>
              </a:ext>
            </a:extLst>
          </p:cNvPr>
          <p:cNvSpPr txBox="1"/>
          <p:nvPr/>
        </p:nvSpPr>
        <p:spPr>
          <a:xfrm>
            <a:off x="5113595" y="3744660"/>
            <a:ext cx="1753537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) Evolution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9E8004B-E578-2A66-7289-8A55BF61F935}"/>
              </a:ext>
            </a:extLst>
          </p:cNvPr>
          <p:cNvSpPr txBox="1"/>
          <p:nvPr/>
        </p:nvSpPr>
        <p:spPr>
          <a:xfrm>
            <a:off x="470821" y="2397655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D69266F9-0323-11C0-FF37-027C9E495DE4}"/>
              </a:ext>
            </a:extLst>
          </p:cNvPr>
          <p:cNvSpPr txBox="1"/>
          <p:nvPr/>
        </p:nvSpPr>
        <p:spPr>
          <a:xfrm>
            <a:off x="8468370" y="6127268"/>
            <a:ext cx="207532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ial-implementation</a:t>
            </a: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3C9BBB02-0B09-C934-34CC-87A130A7EFBD}"/>
              </a:ext>
            </a:extLst>
          </p:cNvPr>
          <p:cNvSpPr txBox="1"/>
          <p:nvPr/>
        </p:nvSpPr>
        <p:spPr>
          <a:xfrm>
            <a:off x="6619442" y="6126603"/>
            <a:ext cx="1702905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-tex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6ECF4E4-84D6-CC76-C644-BA51F31AEBBC}"/>
              </a:ext>
            </a:extLst>
          </p:cNvPr>
          <p:cNvSpPr txBox="1"/>
          <p:nvPr/>
        </p:nvSpPr>
        <p:spPr>
          <a:xfrm>
            <a:off x="7600276" y="658880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C7D03A95-64CB-51AE-7CDD-52A445AD8A7B}"/>
              </a:ext>
            </a:extLst>
          </p:cNvPr>
          <p:cNvSpPr txBox="1"/>
          <p:nvPr/>
        </p:nvSpPr>
        <p:spPr>
          <a:xfrm>
            <a:off x="7439779" y="3594970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>
              <a:solidFill>
                <a:srgbClr val="575757"/>
              </a:solidFill>
            </a:endParaRPr>
          </a:p>
        </p:txBody>
      </p:sp>
      <p:sp>
        <p:nvSpPr>
          <p:cNvPr id="70" name="ZoneTexte 69">
            <a:extLst>
              <a:ext uri="{FF2B5EF4-FFF2-40B4-BE49-F238E27FC236}">
                <a16:creationId xmlns:a16="http://schemas.microsoft.com/office/drawing/2014/main" id="{F508590C-D024-6763-B018-7EC52F36C442}"/>
              </a:ext>
            </a:extLst>
          </p:cNvPr>
          <p:cNvSpPr txBox="1"/>
          <p:nvPr/>
        </p:nvSpPr>
        <p:spPr>
          <a:xfrm>
            <a:off x="6619442" y="4290681"/>
            <a:ext cx="4214813" cy="171700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 + 2) Public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black"/>
                </a:solidFill>
                <a:latin typeface="Arial"/>
              </a:rPr>
              <a:t>Si statut précédent à « final-text »</a:t>
            </a:r>
            <a:endParaRPr lang="fr-FR" sz="1200" dirty="0">
              <a:solidFill>
                <a:prstClr val="black"/>
              </a:solidFill>
              <a:latin typeface="Arial"/>
            </a:endParaRP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ster à « final-text » ou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etour à « trial-implementation » si modification majeure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 statut précédent à « trial-implementation »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R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er à « 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rial-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 » ou 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200" dirty="0">
                <a:solidFill>
                  <a:prstClr val="black"/>
                </a:solidFill>
                <a:latin typeface="Arial"/>
              </a:rPr>
              <a:t>Passage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à « final-text</a:t>
            </a:r>
            <a:r>
              <a:rPr lang="fr-FR" sz="1200" dirty="0">
                <a:solidFill>
                  <a:prstClr val="black"/>
                </a:solidFill>
                <a:latin typeface="Arial"/>
              </a:rPr>
              <a:t> » selon critères</a:t>
            </a:r>
            <a:endParaRPr kumimoji="0" lang="fr-FR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5BB2281-B92E-55D8-7A27-EA469ACA4436}"/>
              </a:ext>
            </a:extLst>
          </p:cNvPr>
          <p:cNvSpPr txBox="1"/>
          <p:nvPr/>
        </p:nvSpPr>
        <p:spPr>
          <a:xfrm>
            <a:off x="8524947" y="2516697"/>
            <a:ext cx="0" cy="0"/>
          </a:xfrm>
          <a:prstGeom prst="rect">
            <a:avLst/>
          </a:prstGeom>
          <a:noFill/>
        </p:spPr>
        <p:txBody>
          <a:bodyPr wrap="none" lIns="72000" tIns="108000" rIns="72000" bIns="108000" rtlCol="0" anchor="ctr" anchorCtr="0">
            <a:normAutofit fontScale="25000" lnSpcReduction="20000"/>
          </a:bodyPr>
          <a:lstStyle/>
          <a:p>
            <a:pPr algn="ctr"/>
            <a:endParaRPr lang="fr-FR" sz="1500" dirty="0">
              <a:solidFill>
                <a:srgbClr val="575757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2B01FEC-CF85-124C-3E2C-400DC51FFE57}"/>
              </a:ext>
            </a:extLst>
          </p:cNvPr>
          <p:cNvSpPr txBox="1"/>
          <p:nvPr/>
        </p:nvSpPr>
        <p:spPr>
          <a:xfrm>
            <a:off x="7445457" y="2448513"/>
            <a:ext cx="2920511" cy="849288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+1) Concertation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onnel, peut être sautée en cas d’évolution mineure (ex : corrections orthographiques)</a:t>
            </a:r>
          </a:p>
        </p:txBody>
      </p:sp>
      <p:pic>
        <p:nvPicPr>
          <p:cNvPr id="14" name="Graphique 13" descr="Amélioration continue contour">
            <a:extLst>
              <a:ext uri="{FF2B5EF4-FFF2-40B4-BE49-F238E27FC236}">
                <a16:creationId xmlns:a16="http://schemas.microsoft.com/office/drawing/2014/main" id="{C09D6723-36C3-FE1E-4519-18EBD3587E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88299" y="2813102"/>
            <a:ext cx="1702899" cy="170289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0DD219BA-DFA2-983A-8F8F-264C3484D3DE}"/>
              </a:ext>
            </a:extLst>
          </p:cNvPr>
          <p:cNvSpPr txBox="1"/>
          <p:nvPr/>
        </p:nvSpPr>
        <p:spPr>
          <a:xfrm>
            <a:off x="10095191" y="2580902"/>
            <a:ext cx="1503872" cy="5845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comment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899B3586-D760-0233-553B-B39618428F66}"/>
              </a:ext>
            </a:extLst>
          </p:cNvPr>
          <p:cNvSpPr txBox="1"/>
          <p:nvPr/>
        </p:nvSpPr>
        <p:spPr>
          <a:xfrm>
            <a:off x="5064505" y="4100127"/>
            <a:ext cx="1461741" cy="38110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none" lIns="72000" tIns="108000" rIns="72000" bIns="108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ft 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AU" sz="10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-build</a:t>
            </a: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F4CA1EA-1088-3760-30D4-65C9D54381B0}"/>
              </a:ext>
            </a:extLst>
          </p:cNvPr>
          <p:cNvSpPr txBox="1"/>
          <p:nvPr/>
        </p:nvSpPr>
        <p:spPr>
          <a:xfrm>
            <a:off x="10683585" y="6114212"/>
            <a:ext cx="1448878" cy="439490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: correspond à chaque itération du cycle</a:t>
            </a:r>
          </a:p>
        </p:txBody>
      </p:sp>
    </p:spTree>
    <p:extLst>
      <p:ext uri="{BB962C8B-B14F-4D97-AF65-F5344CB8AC3E}">
        <p14:creationId xmlns:p14="http://schemas.microsoft.com/office/powerpoint/2010/main" val="24653456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31BB410E-A6B9-4144-98E6-2C588236675D}" vid="{0B4E534E-D968-4B89-84ED-082C4E551A4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99</TotalTime>
  <Words>189</Words>
  <Application>Microsoft Macintosh PowerPoint</Application>
  <PresentationFormat>Grand écran</PresentationFormat>
  <Paragraphs>47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0" baseType="lpstr">
      <vt:lpstr>Aptos</vt:lpstr>
      <vt:lpstr>Arial</vt:lpstr>
      <vt:lpstr>Champagne &amp; Limousines</vt:lpstr>
      <vt:lpstr>Webdings</vt:lpstr>
      <vt:lpstr>Wingdings</vt:lpstr>
      <vt:lpstr>Wingdings 3</vt:lpstr>
      <vt:lpstr>ANS_THEME STANDARD_V1.0</vt:lpstr>
      <vt:lpstr>think-cell Slide</vt:lpstr>
      <vt:lpstr>Le cycle de vie</vt:lpstr>
      <vt:lpstr>Schéma du cycle de v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colas RISS</dc:creator>
  <cp:lastModifiedBy>Nicolas RISS</cp:lastModifiedBy>
  <cp:revision>37</cp:revision>
  <dcterms:created xsi:type="dcterms:W3CDTF">2024-07-11T07:46:37Z</dcterms:created>
  <dcterms:modified xsi:type="dcterms:W3CDTF">2024-07-19T15:08:52Z</dcterms:modified>
</cp:coreProperties>
</file>